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sldIdLst>
    <p:sldId id="257" r:id="rId5"/>
    <p:sldId id="258" r:id="rId6"/>
    <p:sldId id="259" r:id="rId7"/>
    <p:sldId id="260" r:id="rId8"/>
    <p:sldId id="261" r:id="rId9"/>
    <p:sldId id="262" r:id="rId10"/>
    <p:sldId id="263" r:id="rId11"/>
    <p:sldId id="264" r:id="rId12"/>
    <p:sldId id="265" r:id="rId13"/>
    <p:sldId id="266" r:id="rId14"/>
    <p:sldId id="267" r:id="rId15"/>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1" d="100"/>
          <a:sy n="61" d="100"/>
        </p:scale>
        <p:origin x="1368" y="4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9/6/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9/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9/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a16="http://schemas.microsoft.com/office/drawing/2014/main" id="{A0BF94D0-E1BC-4302-BC88-DD0CABF84BD4}"/>
              </a:ext>
            </a:extLst>
          </p:cNvPr>
          <p:cNvSpPr>
            <a:spLocks noGrp="1"/>
          </p:cNvSpPr>
          <p:nvPr>
            <p:ph type="ctrTitle"/>
          </p:nvPr>
        </p:nvSpPr>
        <p:spPr/>
        <p:txBody>
          <a:bodyPr/>
          <a:lstStyle/>
          <a:p>
            <a:r>
              <a:rPr lang="en-US" dirty="0"/>
              <a:t>Mini Project-&lt;&lt;Topic&gt;&gt;</a:t>
            </a:r>
          </a:p>
        </p:txBody>
      </p:sp>
      <p:sp>
        <p:nvSpPr>
          <p:cNvPr id="4" name="Subtitle 3">
            <a:extLst>
              <a:ext uri="{FF2B5EF4-FFF2-40B4-BE49-F238E27FC236}">
                <a16:creationId xmlns:a16="http://schemas.microsoft.com/office/drawing/2014/main" id="{4CF3A756-EC7B-4FED-9197-9EAEE09922F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73702531"/>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Enhancements</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6363190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a:t>Thanks</a:t>
            </a:r>
          </a:p>
        </p:txBody>
      </p:sp>
    </p:spTree>
    <p:extLst>
      <p:ext uri="{BB962C8B-B14F-4D97-AF65-F5344CB8AC3E}">
        <p14:creationId xmlns:p14="http://schemas.microsoft.com/office/powerpoint/2010/main" val="1085505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a16="http://schemas.microsoft.com/office/drawing/2014/main" id="{6CA2DFD8-1E7F-400F-B35D-344DAC786D69}"/>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106605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703560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325459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658283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704972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ce/Activity Diagram</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41791495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123372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696800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F59D98-0F06-4631-A6BC-A483DF8C91A4}">
  <ds:schemaRefs>
    <ds:schemaRef ds:uri="http://schemas.microsoft.com/office/2006/metadata/properties"/>
    <ds:schemaRef ds:uri="http://schemas.microsoft.com/office/infopath/2007/PartnerControls"/>
    <ds:schemaRef ds:uri="ff9673e2-8703-4f54-a1af-e608932f257d"/>
  </ds:schemaRefs>
</ds:datastoreItem>
</file>

<file path=customXml/itemProps3.xml><?xml version="1.0" encoding="utf-8"?>
<ds:datastoreItem xmlns:ds="http://schemas.openxmlformats.org/officeDocument/2006/customXml" ds:itemID="{8A4511C7-3CF7-4DE5-A93B-41A0EC8631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esson XX Template</Template>
  <TotalTime>6</TotalTime>
  <Words>87</Words>
  <Application>Microsoft Office PowerPoint</Application>
  <PresentationFormat>On-screen Show (4:3)</PresentationFormat>
  <Paragraphs>33</Paragraphs>
  <Slides>11</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Arial</vt:lpstr>
      <vt:lpstr>Calibri</vt:lpstr>
      <vt:lpstr>Candara</vt:lpstr>
      <vt:lpstr>Verdana</vt:lpstr>
      <vt:lpstr>Wingdings</vt:lpstr>
      <vt:lpstr>Capgemini 2017_Cover slides</vt:lpstr>
      <vt:lpstr>think-cell Slide</vt:lpstr>
      <vt:lpstr>Mini Project-&lt;&lt;Topic&gt;&gt;</vt:lpstr>
      <vt:lpstr>Team Members</vt:lpstr>
      <vt:lpstr>Project Details</vt:lpstr>
      <vt:lpstr>Diagram Depicting Entire Project</vt:lpstr>
      <vt:lpstr>Use Case Diagram</vt:lpstr>
      <vt:lpstr>Class Diagram</vt:lpstr>
      <vt:lpstr>Sequence/Activity Diagram</vt:lpstr>
      <vt:lpstr>Screen shots</vt:lpstr>
      <vt:lpstr>Screen shots</vt:lpstr>
      <vt:lpstr>Future Enhancements</vt:lpstr>
      <vt:lpstr>Thanks</vt:lpstr>
    </vt:vector>
  </TitlesOfParts>
  <Company>IGATECOR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Patil, Shital</cp:lastModifiedBy>
  <cp:revision>2</cp:revision>
  <dcterms:created xsi:type="dcterms:W3CDTF">2016-04-13T10:56:28Z</dcterms:created>
  <dcterms:modified xsi:type="dcterms:W3CDTF">2018-09-06T07:4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